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at" ContentType="text/plai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9f938f32a59844eb" Type="http://schemas.microsoft.com/office/2006/relationships/txt" Target="udata/data.dat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2"/>
  </p:notesMasterIdLst>
  <p:sldIdLst>
    <p:sldId id="596" r:id="rId2"/>
    <p:sldId id="614" r:id="rId3"/>
    <p:sldId id="619" r:id="rId4"/>
    <p:sldId id="623" r:id="rId5"/>
    <p:sldId id="618" r:id="rId6"/>
    <p:sldId id="622" r:id="rId7"/>
    <p:sldId id="620" r:id="rId8"/>
    <p:sldId id="624" r:id="rId9"/>
    <p:sldId id="625" r:id="rId10"/>
    <p:sldId id="612" r:id="rId11"/>
  </p:sldIdLst>
  <p:sldSz cx="11520488" cy="6480175"/>
  <p:notesSz cx="6858000" cy="9144000"/>
  <p:defaultTextStyle>
    <a:defPPr>
      <a:defRPr lang="en-US"/>
    </a:defPPr>
    <a:lvl1pPr marL="0" lvl="0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1pPr>
    <a:lvl2pPr marL="457200" lvl="1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2pPr>
    <a:lvl3pPr marL="914400" lvl="2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3pPr>
    <a:lvl4pPr marL="1371600" lvl="3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4pPr>
    <a:lvl5pPr marL="1828800" lvl="4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5pPr>
    <a:lvl6pPr marL="2286000" lvl="5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6pPr>
    <a:lvl7pPr marL="2743200" lvl="6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7pPr>
    <a:lvl8pPr marL="3200400" lvl="7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8pPr>
    <a:lvl9pPr marL="3657600" lvl="8" indent="0" algn="l" defTabSz="4572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061">
          <p15:clr>
            <a:srgbClr val="A4A3A4"/>
          </p15:clr>
        </p15:guide>
        <p15:guide id="2" pos="36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DBF"/>
    <a:srgbClr val="0074FF"/>
    <a:srgbClr val="000000"/>
    <a:srgbClr val="236097"/>
    <a:srgbClr val="14317B"/>
    <a:srgbClr val="193D97"/>
    <a:srgbClr val="00FFFF"/>
    <a:srgbClr val="333E5A"/>
    <a:srgbClr val="4245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632"/>
    <p:restoredTop sz="94660"/>
  </p:normalViewPr>
  <p:slideViewPr>
    <p:cSldViewPr showGuides="1">
      <p:cViewPr varScale="1">
        <p:scale>
          <a:sx n="77" d="100"/>
          <a:sy n="77" d="100"/>
        </p:scale>
        <p:origin x="-426" y="-84"/>
      </p:cViewPr>
      <p:guideLst>
        <p:guide orient="horz" pos="2061"/>
        <p:guide pos="367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6" cy="72006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微软雅黑" panose="020B0503020204020204" pitchFamily="34" charset="-122"/>
              </a:defRPr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微软雅黑" panose="020B0503020204020204" pitchFamily="34" charset="-122"/>
              </a:defRPr>
            </a:lvl1pPr>
          </a:lstStyle>
          <a:p>
            <a:pPr fontAlgn="auto"/>
            <a:fld id="{673B58EF-4ABD-40F4-ACA4-FE81D742E6DD}" type="datetimeFigureOut">
              <a:rPr lang="zh-CN" altLang="en-US" strike="noStrike" noProof="1" smtClean="0">
                <a:latin typeface="+mn-lt"/>
                <a:ea typeface="微软雅黑" panose="020B0503020204020204" pitchFamily="34" charset="-122"/>
                <a:cs typeface="+mn-cs"/>
              </a:rPr>
              <a:t>2019/6/28</a:t>
            </a:fld>
            <a:endParaRPr lang="zh-CN" altLang="en-US" strike="noStrike" noProof="1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fontAlgn="auto"/>
            <a:r>
              <a:rPr lang="zh-CN" altLang="en-US" sz="1510" strike="noStrike" noProof="1"/>
              <a:t>单击此处编辑母版文本样式</a:t>
            </a:r>
            <a:endParaRPr lang="zh-CN" altLang="en-US" strike="noStrike" noProof="1"/>
          </a:p>
          <a:p>
            <a:pPr lvl="1" fontAlgn="auto"/>
            <a:r>
              <a:rPr lang="zh-CN" altLang="en-US" sz="1510" strike="noStrike" noProof="1"/>
              <a:t>第二级</a:t>
            </a:r>
            <a:endParaRPr lang="zh-CN" altLang="en-US" strike="noStrike" noProof="1"/>
          </a:p>
          <a:p>
            <a:pPr lvl="2" fontAlgn="auto"/>
            <a:r>
              <a:rPr lang="zh-CN" altLang="en-US" sz="1510" strike="noStrike" noProof="1"/>
              <a:t>第三级</a:t>
            </a:r>
            <a:endParaRPr lang="zh-CN" altLang="en-US" strike="noStrike" noProof="1"/>
          </a:p>
          <a:p>
            <a:pPr lvl="3" fontAlgn="auto"/>
            <a:r>
              <a:rPr lang="zh-CN" altLang="en-US" sz="1510" strike="noStrike" noProof="1"/>
              <a:t>第四级</a:t>
            </a:r>
            <a:endParaRPr lang="zh-CN" altLang="en-US" strike="noStrike" noProof="1"/>
          </a:p>
          <a:p>
            <a:pPr lvl="4" fontAlgn="auto"/>
            <a:r>
              <a:rPr lang="zh-CN" altLang="en-US" sz="1510" strike="noStrike" noProof="1"/>
              <a:t>第五级</a:t>
            </a:r>
            <a:endParaRPr lang="zh-CN" altLang="en-US" strike="noStrike" noProof="1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微软雅黑" panose="020B0503020204020204" pitchFamily="34" charset="-122"/>
              </a:defRPr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微软雅黑" panose="020B0503020204020204" pitchFamily="34" charset="-122"/>
              </a:defRPr>
            </a:lvl1pPr>
          </a:lstStyle>
          <a:p>
            <a:pPr fontAlgn="auto"/>
            <a:fld id="{A11FC198-2D83-4DFC-8CDD-7D23AF44D411}" type="slidenum">
              <a:rPr lang="zh-CN" altLang="en-US" strike="noStrike" noProof="1" smtClean="0">
                <a:latin typeface="+mn-lt"/>
                <a:ea typeface="微软雅黑" panose="020B0503020204020204" pitchFamily="34" charset="-122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40886601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151890" rtl="0" eaLnBrk="1" latinLnBrk="0" hangingPunct="1">
      <a:defRPr sz="151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1pPr>
    <a:lvl2pPr marL="575945" algn="l" defTabSz="1151890" rtl="0" eaLnBrk="1" latinLnBrk="0" hangingPunct="1">
      <a:defRPr sz="151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2pPr>
    <a:lvl3pPr marL="1151890" algn="l" defTabSz="1151890" rtl="0" eaLnBrk="1" latinLnBrk="0" hangingPunct="1">
      <a:defRPr sz="151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3pPr>
    <a:lvl4pPr marL="1727835" algn="l" defTabSz="1151890" rtl="0" eaLnBrk="1" latinLnBrk="0" hangingPunct="1">
      <a:defRPr sz="151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4pPr>
    <a:lvl5pPr marL="2303780" algn="l" defTabSz="1151890" rtl="0" eaLnBrk="1" latinLnBrk="0" hangingPunct="1">
      <a:defRPr sz="151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5pPr>
    <a:lvl6pPr marL="2879725" algn="l" defTabSz="1151890" rtl="0" eaLnBrk="1" latinLnBrk="0" hangingPunct="1">
      <a:defRPr sz="1510" kern="1200">
        <a:solidFill>
          <a:schemeClr val="tx1"/>
        </a:solidFill>
        <a:latin typeface="+mn-lt"/>
        <a:ea typeface="+mn-ea"/>
        <a:cs typeface="+mn-cs"/>
      </a:defRPr>
    </a:lvl6pPr>
    <a:lvl7pPr marL="3455670" algn="l" defTabSz="1151890" rtl="0" eaLnBrk="1" latinLnBrk="0" hangingPunct="1">
      <a:defRPr sz="1510" kern="1200">
        <a:solidFill>
          <a:schemeClr val="tx1"/>
        </a:solidFill>
        <a:latin typeface="+mn-lt"/>
        <a:ea typeface="+mn-ea"/>
        <a:cs typeface="+mn-cs"/>
      </a:defRPr>
    </a:lvl7pPr>
    <a:lvl8pPr marL="4031615" algn="l" defTabSz="1151890" rtl="0" eaLnBrk="1" latinLnBrk="0" hangingPunct="1">
      <a:defRPr sz="1510" kern="1200">
        <a:solidFill>
          <a:schemeClr val="tx1"/>
        </a:solidFill>
        <a:latin typeface="+mn-lt"/>
        <a:ea typeface="+mn-ea"/>
        <a:cs typeface="+mn-cs"/>
      </a:defRPr>
    </a:lvl8pPr>
    <a:lvl9pPr marL="4607560" algn="l" defTabSz="1151890" rtl="0" eaLnBrk="1" latinLnBrk="0" hangingPunct="1">
      <a:defRPr sz="151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AFD74D-EE7B-42FD-8645-59A75956194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3477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5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7002" y="22500"/>
            <a:ext cx="11466801" cy="643517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001" y="18000"/>
            <a:ext cx="11484802" cy="644417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2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8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4530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2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483057" y="330393"/>
            <a:ext cx="9057610" cy="552901"/>
          </a:xfrm>
        </p:spPr>
        <p:txBody>
          <a:bodyPr anchor="ctr" anchorCtr="0">
            <a:normAutofit/>
          </a:bodyPr>
          <a:lstStyle>
            <a:lvl1pPr>
              <a:defRPr lang="zh-CN" altLang="en-US" sz="1890" b="1" kern="12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华文楷体" panose="02010600040101010101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8677" y="359338"/>
            <a:ext cx="1692118" cy="495013"/>
          </a:xfrm>
          <a:prstGeom prst="rect">
            <a:avLst/>
          </a:prstGeom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2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2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200"/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34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对象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0010" cy="150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charset="0"/>
              <a:ea typeface="等线 Light" panose="02010600030101010101" charset="-122"/>
              <a:cs typeface="+mn-cs"/>
              <a:sym typeface="Calibri Light" panose="020F030202020403020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2055" y="345009"/>
            <a:ext cx="9936694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055" y="1725047"/>
            <a:ext cx="9936694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2055" y="6006162"/>
            <a:ext cx="2592181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F8F074-B17D-4207-A87E-DEC20ED6235B}" type="datetime1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等线" panose="02010600030101010101" charset="-122"/>
                <a:cs typeface="+mn-cs"/>
              </a:rPr>
              <a:t>6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6267" y="6006162"/>
            <a:ext cx="3888272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6569" y="6006162"/>
            <a:ext cx="2592181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7E17D8-73AE-034D-8C5D-2628745C44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864235" rtl="0" eaLnBrk="1" latinLnBrk="0" hangingPunct="1">
        <a:lnSpc>
          <a:spcPct val="90000"/>
        </a:lnSpc>
        <a:spcBef>
          <a:spcPct val="0"/>
        </a:spcBef>
        <a:buNone/>
        <a:defRPr sz="4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00" indent="-215900" algn="l" defTabSz="864235" rtl="0" eaLnBrk="1" latinLnBrk="0" hangingPunct="1">
        <a:lnSpc>
          <a:spcPct val="90000"/>
        </a:lnSpc>
        <a:spcBef>
          <a:spcPts val="945"/>
        </a:spcBef>
        <a:buFont typeface="Arial" panose="020B0604020202020204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1pPr>
      <a:lvl2pPr marL="648335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2270" kern="1200">
          <a:solidFill>
            <a:schemeClr val="tx1"/>
          </a:solidFill>
          <a:latin typeface="+mn-lt"/>
          <a:ea typeface="+mn-ea"/>
          <a:cs typeface="+mn-cs"/>
        </a:defRPr>
      </a:lvl2pPr>
      <a:lvl3pPr marL="1080135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44370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170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970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40405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205" indent="-215900" algn="l" defTabSz="864235" rtl="0" eaLnBrk="1" latinLnBrk="0" hangingPunct="1">
        <a:lnSpc>
          <a:spcPct val="90000"/>
        </a:lnSpc>
        <a:spcBef>
          <a:spcPct val="95000"/>
        </a:spcBef>
        <a:buFont typeface="Arial" panose="020B0604020202020204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42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8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2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0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8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30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961171" y="1712327"/>
            <a:ext cx="4684012" cy="557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8565">
              <a:spcBef>
                <a:spcPct val="0"/>
              </a:spcBef>
            </a:pPr>
            <a:r>
              <a:rPr lang="zh-CN" altLang="en-US" sz="3025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决策引擎</a:t>
            </a:r>
            <a:endParaRPr lang="zh-CN" altLang="zh-CN" sz="3025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4881503" y="2664318"/>
            <a:ext cx="1167231" cy="684000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规则集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评分卡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决策树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6177611" y="2664318"/>
            <a:ext cx="1167231" cy="683999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函数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自定义函数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脚本引擎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3477754" y="2664317"/>
            <a:ext cx="1274872" cy="684000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可视化设计器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血缘关系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版本控制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/>
            <a:r>
              <a:rPr lang="en-US" altLang="zh-CN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AB/test</a:t>
            </a:r>
          </a:p>
        </p:txBody>
      </p:sp>
      <p:sp>
        <p:nvSpPr>
          <p:cNvPr id="100" name="矩形 99"/>
          <p:cNvSpPr/>
          <p:nvPr/>
        </p:nvSpPr>
        <p:spPr>
          <a:xfrm>
            <a:off x="3456519" y="3384122"/>
            <a:ext cx="3888324" cy="288000"/>
          </a:xfrm>
          <a:prstGeom prst="rect">
            <a:avLst/>
          </a:prstGeom>
          <a:gradFill>
            <a:gsLst>
              <a:gs pos="0">
                <a:srgbClr val="1C1B69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项                     原子规则                      数据源           </a:t>
            </a:r>
            <a:endParaRPr lang="en-US" altLang="zh-CN" sz="1200" strike="noStrike" noProof="1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" name="矩形 110"/>
          <p:cNvSpPr/>
          <p:nvPr/>
        </p:nvSpPr>
        <p:spPr>
          <a:xfrm>
            <a:off x="3384046" y="2376015"/>
            <a:ext cx="4032336" cy="1345412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/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建模</a:t>
            </a:r>
            <a:endParaRPr lang="en-US" altLang="zh-CN" sz="1400" strike="noStrike" noProof="1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下箭头 114"/>
          <p:cNvSpPr/>
          <p:nvPr/>
        </p:nvSpPr>
        <p:spPr>
          <a:xfrm flipV="1">
            <a:off x="5296824" y="4500200"/>
            <a:ext cx="148011" cy="150299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/>
          </a:p>
        </p:txBody>
      </p:sp>
      <p:sp>
        <p:nvSpPr>
          <p:cNvPr id="131" name="矩形 130"/>
          <p:cNvSpPr/>
          <p:nvPr/>
        </p:nvSpPr>
        <p:spPr>
          <a:xfrm>
            <a:off x="1440000" y="2376015"/>
            <a:ext cx="1764000" cy="2124186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/>
            <a:r>
              <a:rPr lang="zh-CN" altLang="en-US" sz="12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</a:t>
            </a:r>
            <a:r>
              <a:rPr lang="zh-CN" altLang="en-US" sz="12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置</a:t>
            </a:r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处置</a:t>
            </a:r>
            <a:endParaRPr lang="en-US" altLang="zh-CN" sz="1400" strike="noStrike" noProof="1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矩形 133"/>
          <p:cNvSpPr/>
          <p:nvPr/>
        </p:nvSpPr>
        <p:spPr>
          <a:xfrm>
            <a:off x="1505814" y="3116961"/>
            <a:ext cx="798142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黑名单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5" name="矩形 134"/>
          <p:cNvSpPr/>
          <p:nvPr/>
        </p:nvSpPr>
        <p:spPr>
          <a:xfrm>
            <a:off x="2363810" y="3116961"/>
            <a:ext cx="798142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止付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6" name="矩形 135"/>
          <p:cNvSpPr/>
          <p:nvPr/>
        </p:nvSpPr>
        <p:spPr>
          <a:xfrm>
            <a:off x="1510323" y="3484072"/>
            <a:ext cx="798142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冻结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矩形 136"/>
          <p:cNvSpPr/>
          <p:nvPr/>
        </p:nvSpPr>
        <p:spPr>
          <a:xfrm>
            <a:off x="2363810" y="3492738"/>
            <a:ext cx="798142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审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矩形 155"/>
          <p:cNvSpPr/>
          <p:nvPr/>
        </p:nvSpPr>
        <p:spPr>
          <a:xfrm>
            <a:off x="7596496" y="2376015"/>
            <a:ext cx="2126212" cy="2124185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/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计算</a:t>
            </a:r>
            <a:r>
              <a:rPr lang="en-US" altLang="zh-CN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食蚁兽</a:t>
            </a:r>
            <a:r>
              <a:rPr lang="en-US" altLang="zh-CN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algn="ctr" fontAlgn="auto"/>
            <a:endParaRPr lang="en-US" altLang="zh-CN" sz="1400" strike="noStrike" noProof="1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9" name="矩形 178"/>
          <p:cNvSpPr/>
          <p:nvPr/>
        </p:nvSpPr>
        <p:spPr>
          <a:xfrm>
            <a:off x="1329793" y="2159998"/>
            <a:ext cx="8558278" cy="3312275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z="1100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左箭头 2"/>
          <p:cNvSpPr/>
          <p:nvPr/>
        </p:nvSpPr>
        <p:spPr>
          <a:xfrm>
            <a:off x="3190491" y="3448810"/>
            <a:ext cx="180000" cy="144000"/>
          </a:xfrm>
          <a:prstGeom prst="left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/>
          </a:p>
        </p:txBody>
      </p:sp>
      <p:sp>
        <p:nvSpPr>
          <p:cNvPr id="5" name="右箭头 4"/>
          <p:cNvSpPr/>
          <p:nvPr/>
        </p:nvSpPr>
        <p:spPr>
          <a:xfrm>
            <a:off x="7416382" y="3436540"/>
            <a:ext cx="180000" cy="140945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/>
          </a:p>
        </p:txBody>
      </p:sp>
      <p:sp>
        <p:nvSpPr>
          <p:cNvPr id="4" name="下箭头 3"/>
          <p:cNvSpPr/>
          <p:nvPr/>
        </p:nvSpPr>
        <p:spPr>
          <a:xfrm>
            <a:off x="5295439" y="3744129"/>
            <a:ext cx="144000" cy="10800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/>
          </a:p>
        </p:txBody>
      </p:sp>
      <p:sp>
        <p:nvSpPr>
          <p:cNvPr id="83" name="矩形 82"/>
          <p:cNvSpPr/>
          <p:nvPr/>
        </p:nvSpPr>
        <p:spPr>
          <a:xfrm>
            <a:off x="7698330" y="3164917"/>
            <a:ext cx="798142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指标定义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8634408" y="3592809"/>
            <a:ext cx="1024970" cy="295331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任务调度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7704406" y="3587445"/>
            <a:ext cx="798142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任务监控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8644950" y="3164916"/>
            <a:ext cx="1014428" cy="289923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源定义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1439885" y="4680207"/>
            <a:ext cx="8282824" cy="684000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/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洞察</a:t>
            </a:r>
            <a:endParaRPr lang="en-US" altLang="zh-CN" sz="1400" strike="noStrike" noProof="1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矩形 119"/>
          <p:cNvSpPr/>
          <p:nvPr/>
        </p:nvSpPr>
        <p:spPr>
          <a:xfrm>
            <a:off x="2015932" y="5009541"/>
            <a:ext cx="18479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风险监控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矩形 120"/>
          <p:cNvSpPr/>
          <p:nvPr/>
        </p:nvSpPr>
        <p:spPr>
          <a:xfrm>
            <a:off x="4863390" y="5007489"/>
            <a:ext cx="1688920" cy="302748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风险预警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矩形 121"/>
          <p:cNvSpPr/>
          <p:nvPr/>
        </p:nvSpPr>
        <p:spPr>
          <a:xfrm>
            <a:off x="7776412" y="5007489"/>
            <a:ext cx="1575457" cy="302748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风险分析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矩形 122"/>
          <p:cNvSpPr/>
          <p:nvPr/>
        </p:nvSpPr>
        <p:spPr>
          <a:xfrm>
            <a:off x="1329791" y="1295926"/>
            <a:ext cx="8558279" cy="66072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z="1100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3672070" y="1599631"/>
            <a:ext cx="1413464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路由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7" name="矩形 146"/>
          <p:cNvSpPr/>
          <p:nvPr/>
        </p:nvSpPr>
        <p:spPr>
          <a:xfrm>
            <a:off x="5832250" y="1599631"/>
            <a:ext cx="1418771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鉴权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8" name="矩形 147"/>
          <p:cNvSpPr/>
          <p:nvPr/>
        </p:nvSpPr>
        <p:spPr>
          <a:xfrm>
            <a:off x="7689887" y="1599631"/>
            <a:ext cx="131062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>
                <a:latin typeface="微软雅黑" panose="020B0503020204020204" pitchFamily="34" charset="-122"/>
                <a:ea typeface="微软雅黑" panose="020B0503020204020204" pitchFamily="34" charset="-122"/>
              </a:rPr>
              <a:t>限流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7" name="矩形 156"/>
          <p:cNvSpPr/>
          <p:nvPr/>
        </p:nvSpPr>
        <p:spPr>
          <a:xfrm>
            <a:off x="3384513" y="3888141"/>
            <a:ext cx="4032336" cy="612060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/>
            <a:r>
              <a:rPr lang="zh-CN" altLang="en-US" sz="1400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则</a:t>
            </a:r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擎</a:t>
            </a:r>
            <a:endParaRPr lang="en-US" altLang="zh-CN" sz="1400" strike="noStrike" noProof="1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9" name="矩形 158"/>
          <p:cNvSpPr/>
          <p:nvPr/>
        </p:nvSpPr>
        <p:spPr>
          <a:xfrm>
            <a:off x="3521982" y="4158322"/>
            <a:ext cx="1230644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函数执行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0" name="矩形 159"/>
          <p:cNvSpPr/>
          <p:nvPr/>
        </p:nvSpPr>
        <p:spPr>
          <a:xfrm>
            <a:off x="4896172" y="4158322"/>
            <a:ext cx="1152562" cy="305867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则解析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1" name="矩形 160"/>
          <p:cNvSpPr/>
          <p:nvPr/>
        </p:nvSpPr>
        <p:spPr>
          <a:xfrm>
            <a:off x="6177611" y="4163493"/>
            <a:ext cx="1166765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则执行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2" name="矩形 161"/>
          <p:cNvSpPr/>
          <p:nvPr/>
        </p:nvSpPr>
        <p:spPr>
          <a:xfrm>
            <a:off x="1727908" y="1599631"/>
            <a:ext cx="1479161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数据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3" name="矩形 162"/>
          <p:cNvSpPr/>
          <p:nvPr/>
        </p:nvSpPr>
        <p:spPr>
          <a:xfrm>
            <a:off x="4548464" y="1295926"/>
            <a:ext cx="1847977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控网关</a:t>
            </a:r>
            <a:endParaRPr lang="en-US" altLang="zh-CN" sz="1400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5" name="下箭头 164"/>
          <p:cNvSpPr/>
          <p:nvPr/>
        </p:nvSpPr>
        <p:spPr>
          <a:xfrm>
            <a:off x="5296824" y="1979959"/>
            <a:ext cx="144000" cy="14400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/>
          </a:p>
        </p:txBody>
      </p:sp>
      <p:sp>
        <p:nvSpPr>
          <p:cNvPr id="166" name="矩形 165"/>
          <p:cNvSpPr/>
          <p:nvPr/>
        </p:nvSpPr>
        <p:spPr>
          <a:xfrm>
            <a:off x="4548464" y="851218"/>
            <a:ext cx="1847977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盾反欺诈引擎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7" name="矩形 166"/>
          <p:cNvSpPr/>
          <p:nvPr/>
        </p:nvSpPr>
        <p:spPr>
          <a:xfrm>
            <a:off x="1322456" y="5616285"/>
            <a:ext cx="8558279" cy="66072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z="1100" strike="noStrike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8" name="矩形 167"/>
          <p:cNvSpPr/>
          <p:nvPr/>
        </p:nvSpPr>
        <p:spPr>
          <a:xfrm>
            <a:off x="4536142" y="5616285"/>
            <a:ext cx="1847977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400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中间件</a:t>
            </a:r>
            <a:endParaRPr lang="en-US" altLang="zh-CN" sz="1400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9" name="矩形 168"/>
          <p:cNvSpPr/>
          <p:nvPr/>
        </p:nvSpPr>
        <p:spPr>
          <a:xfrm>
            <a:off x="1466211" y="5894038"/>
            <a:ext cx="10012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2M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0" name="矩形 169"/>
          <p:cNvSpPr/>
          <p:nvPr/>
        </p:nvSpPr>
        <p:spPr>
          <a:xfrm>
            <a:off x="2886811" y="5904309"/>
            <a:ext cx="10012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MQ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2" name="矩形 171"/>
          <p:cNvSpPr/>
          <p:nvPr/>
        </p:nvSpPr>
        <p:spPr>
          <a:xfrm>
            <a:off x="4398937" y="5906361"/>
            <a:ext cx="10012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SF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8" name="矩形 177"/>
          <p:cNvSpPr/>
          <p:nvPr/>
        </p:nvSpPr>
        <p:spPr>
          <a:xfrm>
            <a:off x="5911063" y="5908413"/>
            <a:ext cx="10012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ES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0" name="矩形 179"/>
          <p:cNvSpPr/>
          <p:nvPr/>
        </p:nvSpPr>
        <p:spPr>
          <a:xfrm>
            <a:off x="7351183" y="5894038"/>
            <a:ext cx="10012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BASE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1" name="矩形 180"/>
          <p:cNvSpPr/>
          <p:nvPr/>
        </p:nvSpPr>
        <p:spPr>
          <a:xfrm>
            <a:off x="8712490" y="5916981"/>
            <a:ext cx="1001277" cy="3006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236CAD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en-US" altLang="zh-CN" sz="1200" noProof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endParaRPr lang="en-US" altLang="zh-CN" sz="1200" noProof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2" name="下箭头 181"/>
          <p:cNvSpPr/>
          <p:nvPr/>
        </p:nvSpPr>
        <p:spPr>
          <a:xfrm flipV="1">
            <a:off x="5291428" y="5456912"/>
            <a:ext cx="148011" cy="150299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/>
          </a:p>
        </p:txBody>
      </p:sp>
    </p:spTree>
    <p:extLst>
      <p:ext uri="{BB962C8B-B14F-4D97-AF65-F5344CB8AC3E}">
        <p14:creationId xmlns:p14="http://schemas.microsoft.com/office/powerpoint/2010/main" val="3840630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3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254980" name="Picture 4" descr="c:\users\zhaobin8\documents\jddongdong\jimenterprise\wangyuguang\image\37e0c624d5345eacad294e86d3f56ce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782" y="2974534"/>
            <a:ext cx="7369267" cy="1921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/>
          <p:cNvSpPr/>
          <p:nvPr/>
        </p:nvSpPr>
        <p:spPr>
          <a:xfrm>
            <a:off x="-378062" y="330392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引擎关键技术和规范标准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55009" name="Picture 33" descr="c:\users\zhaobin8\documents\jddongdong\jimenterprise\wangyuguang\image\a060d6a61af57d296d9e43056d909558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408" y="1007901"/>
            <a:ext cx="11051742" cy="143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778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7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312040" y="2304009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编程式</a:t>
            </a:r>
            <a:r>
              <a:rPr lang="zh-CN" altLang="en-US" sz="1600" b="1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式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en-US" altLang="zh-CN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     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声明式</a:t>
            </a:r>
            <a:r>
              <a:rPr lang="zh-CN" altLang="en-US" sz="1600" b="1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式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-378062" y="330392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引擎产品定位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366250" y="3384099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序语言  </a:t>
            </a:r>
            <a:r>
              <a:rPr lang="en-US" altLang="zh-CN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脚本语言  </a:t>
            </a:r>
            <a:r>
              <a:rPr lang="en-US" altLang="zh-CN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   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语言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9913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256002" name="Picture 2" descr="c:\users\zhaobin8\documents\jddongdong\jimenterprise\wangyuguang\image\a40b3be55cf434ae912ac205aefdba6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860" y="647871"/>
            <a:ext cx="5228598" cy="29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04" name="Picture 4" descr="c:\users\zhaobin8\documents\jddongdong\jimenterprise\wangyuguang\image\da6e0c405a2a36be5a82b83992bb393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854" y="3708569"/>
            <a:ext cx="6590460" cy="2699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09" name="Picture 9" descr="c:\users\zhaobin8\documents\jddongdong\jimenterprise\wangyuguang\temp\jdonline2019052718075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471" y="673667"/>
            <a:ext cx="2895600" cy="263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-882104" y="92011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则语言</a:t>
            </a:r>
            <a:r>
              <a:rPr lang="en-US" altLang="zh-CN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语言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4056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5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-522074" y="92011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引擎架构方案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1133" name="Picture 13" descr="E:\风控\风控中台\决策引擎\Decisions Engine Framewor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986" y="1151913"/>
            <a:ext cx="5616468" cy="3201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270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-522074" y="92011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引擎策略组件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4194" name="Picture 2" descr="E:\风控\风控中台\决策引擎\Strategy Component 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022" y="687870"/>
            <a:ext cx="5010150" cy="505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074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9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-522074" y="92011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引擎技术架构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3170" name="Picture 2" descr="E:\风控\风控中台\决策引擎\Decisions Engin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0983" y="584533"/>
            <a:ext cx="5835489" cy="564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276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-504278" y="330392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引擎类图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59074" name="Picture 2" descr="C:\Users\zhaobin8\Desktop\sds运行态类图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282" y="1087243"/>
            <a:ext cx="9272212" cy="498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883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对象 1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7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7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hevron 28"/>
          <p:cNvSpPr/>
          <p:nvPr/>
        </p:nvSpPr>
        <p:spPr bwMode="ltGray">
          <a:xfrm>
            <a:off x="9265321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2" name="Chevron 29"/>
          <p:cNvSpPr/>
          <p:nvPr/>
        </p:nvSpPr>
        <p:spPr bwMode="ltGray">
          <a:xfrm>
            <a:off x="9659378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3" name="Chevron 30"/>
          <p:cNvSpPr/>
          <p:nvPr/>
        </p:nvSpPr>
        <p:spPr bwMode="ltGray">
          <a:xfrm>
            <a:off x="10052542" y="84962"/>
            <a:ext cx="457387" cy="245430"/>
          </a:xfrm>
          <a:prstGeom prst="chevron">
            <a:avLst/>
          </a:prstGeom>
          <a:solidFill>
            <a:srgbClr val="5686FF"/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4" name="Chevron 31"/>
          <p:cNvSpPr/>
          <p:nvPr/>
        </p:nvSpPr>
        <p:spPr bwMode="ltGray">
          <a:xfrm>
            <a:off x="10446599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5" name="Chevron 32"/>
          <p:cNvSpPr/>
          <p:nvPr/>
        </p:nvSpPr>
        <p:spPr bwMode="ltGray">
          <a:xfrm>
            <a:off x="10839763" y="84962"/>
            <a:ext cx="457387" cy="245430"/>
          </a:xfrm>
          <a:prstGeom prst="chevron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34016" rIns="34016" rtlCol="0" anchor="ctr"/>
          <a:lstStyle/>
          <a:p>
            <a:pPr algn="ctr"/>
            <a:endParaRPr lang="zh-CN" altLang="en-US" sz="1325" b="1" dirty="0">
              <a:solidFill>
                <a:schemeClr val="bg1">
                  <a:lumMod val="9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-504278" y="330392"/>
            <a:ext cx="3834114" cy="300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r>
              <a:rPr lang="zh-CN" altLang="en-US" sz="1600" b="1" noProof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</a:t>
            </a:r>
            <a:r>
              <a:rPr lang="zh-CN" altLang="en-US" sz="1600" b="1" noProof="1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示例</a:t>
            </a:r>
            <a:endParaRPr lang="en-US" altLang="zh-CN" sz="1600" b="1" noProof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9314" name="Picture 2" descr="c:\users\zhaobin8\documents\jddongdong\jimenterprise\wangyuguang\image\96957557-6260-4963-9bf5-2b57d90d287b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004" y="594444"/>
            <a:ext cx="5334064" cy="574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5881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8DSlj_Rm69daiK3S69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409</TotalTime>
  <Words>137</Words>
  <Application>Microsoft Office PowerPoint</Application>
  <PresentationFormat>自定义</PresentationFormat>
  <Paragraphs>55</Paragraphs>
  <Slides>10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商务金融PPT图表</dc:title>
  <dc:subject>哎呀小小草</dc:subject>
  <dc:creator>哎呀小小草</dc:creator>
  <cp:keywords>https:/800sucai.taobao.com</cp:keywords>
  <dc:description>https://800sucai.taobao.com/</dc:description>
  <cp:lastModifiedBy>p</cp:lastModifiedBy>
  <cp:revision>2523</cp:revision>
  <dcterms:created xsi:type="dcterms:W3CDTF">2015-04-24T01:01:00Z</dcterms:created>
  <dcterms:modified xsi:type="dcterms:W3CDTF">2019-06-28T13:43:50Z</dcterms:modified>
  <cp:category>https://800sucai.taobao.com/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12</vt:lpwstr>
  </property>
</Properties>
</file>